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1" r:id="rId6"/>
    <p:sldId id="260" r:id="rId7"/>
  </p:sldIdLst>
  <p:sldSz cx="12192000" cy="6858000"/>
  <p:notesSz cx="6858000" cy="91440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100" d="100"/>
          <a:sy n="100" d="100"/>
        </p:scale>
        <p:origin x="990" y="3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6D6201-8CAA-283F-61A1-C628DAA4B6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E71039F-05D3-67D3-EBD2-8C63AE97DD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48F4431-37EA-C378-2AAD-B4EAEDA94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CA66B-AB41-454E-99A7-9D869D0BF8CA}" type="datetimeFigureOut">
              <a:rPr lang="de-DE" smtClean="0"/>
              <a:t>13.04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59D5718-BC89-B180-51A9-CCECB4C64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AF6020C-CFFD-9E81-AFED-5657AD065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1F95A-086F-4A94-9726-CE12BB173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74127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D312DD-8CF1-85E1-561C-41215B515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5AE5418F-68FA-6FC3-A65B-EEB34DD779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285E2A7-0B4B-9195-C4FD-31FB468BDF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CA66B-AB41-454E-99A7-9D869D0BF8CA}" type="datetimeFigureOut">
              <a:rPr lang="de-DE" smtClean="0"/>
              <a:t>13.04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8C3AE6-E5C4-0704-B702-C50E1BF056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F85F032-916D-B89D-FA5E-C668FB225E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1F95A-086F-4A94-9726-CE12BB173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20722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15E386E3-77DC-C700-0114-52009190E78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8553636-B544-3FD1-1B9F-4DFE7E7A12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3D422D4-D6CE-E191-EDCC-BC7986B586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CA66B-AB41-454E-99A7-9D869D0BF8CA}" type="datetimeFigureOut">
              <a:rPr lang="de-DE" smtClean="0"/>
              <a:t>13.04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19AA8B-6224-1A56-FEDA-3032AEBD87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101FB8-A108-5657-E30A-ACF04237F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1F95A-086F-4A94-9726-CE12BB173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598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F2C5A0-D712-0EAE-AAF6-FA1DDB44D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DCFCED7-1D12-31DE-7557-63E0F5F28C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83A3765-E03B-D4B1-E88D-3A6FB13D2B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CA66B-AB41-454E-99A7-9D869D0BF8CA}" type="datetimeFigureOut">
              <a:rPr lang="de-DE" smtClean="0"/>
              <a:t>13.04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1BF11F7-25EA-D1B5-98A8-B9F2851DED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AECC255-AD9A-C8BA-7991-0327F6E6C4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1F95A-086F-4A94-9726-CE12BB173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74553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1A5C58-6E70-3027-1913-3C54C1BB0F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3BDDC99-E880-ECD6-6D3A-3A76098ACB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81BD2D-9BD7-6C0D-CDB0-8E39F96A4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CA66B-AB41-454E-99A7-9D869D0BF8CA}" type="datetimeFigureOut">
              <a:rPr lang="de-DE" smtClean="0"/>
              <a:t>13.04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2496BCA-7EC0-E8D8-FEBF-141CE924F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BCDB942-4767-5724-8568-669755A080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1F95A-086F-4A94-9726-CE12BB173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3028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1ED772-8C41-4B1B-1739-4408D7AA1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22F6AC-CEE7-E000-1274-C5112EB0D29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34213F1-953F-2AAB-C7FD-776822BB26B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E4BA830-E9EE-2711-870D-8F0AA9463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CA66B-AB41-454E-99A7-9D869D0BF8CA}" type="datetimeFigureOut">
              <a:rPr lang="de-DE" smtClean="0"/>
              <a:t>13.04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62A1384-6EBD-F889-C253-F9354CBFD9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CAAF155-84A8-7AB6-84AB-C796AED205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1F95A-086F-4A94-9726-CE12BB173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10529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30A5D8-C33F-8693-D3BD-66455B3E3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BD7C16D-5D49-3440-7BFC-6899062727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91675E-C576-3910-DA90-F24A420D0D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DF08AFD-36D2-E993-AA8A-7F1C585C1D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B6BE0B7-11C9-ED51-FC19-AF59CDC4928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CBF05C5-B30C-A89C-9D49-38BF0363A0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CA66B-AB41-454E-99A7-9D869D0BF8CA}" type="datetimeFigureOut">
              <a:rPr lang="de-DE" smtClean="0"/>
              <a:t>13.04.20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E44DED78-D811-D1DF-C303-B976A52C80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F0CB7F3-F487-F89A-8402-4F95B2126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1F95A-086F-4A94-9726-CE12BB173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41925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41B75C-EB0B-9155-75E4-1D93C8118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4F88AD-BBBC-A60F-2B57-EEA6DFD166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CA66B-AB41-454E-99A7-9D869D0BF8CA}" type="datetimeFigureOut">
              <a:rPr lang="de-DE" smtClean="0"/>
              <a:t>13.04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D3ADEEC-F08A-22D2-42E4-AA527C5296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9FA1E4A-E67D-DDF0-BE28-BD2C88BDA2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1F95A-086F-4A94-9726-CE12BB173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0345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CE4AAB6-F351-5B15-89EA-20DB935198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CA66B-AB41-454E-99A7-9D869D0BF8CA}" type="datetimeFigureOut">
              <a:rPr lang="de-DE" smtClean="0"/>
              <a:t>13.04.20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5EA7CA-1C12-ED74-56F1-4E7126B79C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EC2131-506B-EB47-EEE8-0F5F1F4729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1F95A-086F-4A94-9726-CE12BB173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58352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8DA7FA-4BB4-7383-8467-95DE67D8C8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C3761A3-E008-BA5A-1612-D27658BE03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AEAD6BB-61F1-9E3D-C365-13638610AC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2E9AC45-5343-5DDA-254D-8B949E26B4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CA66B-AB41-454E-99A7-9D869D0BF8CA}" type="datetimeFigureOut">
              <a:rPr lang="de-DE" smtClean="0"/>
              <a:t>13.04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8985E3B-C197-2BD0-C4DC-1AE1256CD5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8753F45-75FA-AC70-879F-E4E54A6892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1F95A-086F-4A94-9726-CE12BB173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40218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90118AC-B111-122A-54AA-A33A62C234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ED28B45-3420-AFBE-2633-4A25966CCFD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EBAFFB1-9B16-1518-585C-E0BA4BF9FD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0E3627D-A5D3-FB1A-CB64-263D5DA93A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BCA66B-AB41-454E-99A7-9D869D0BF8CA}" type="datetimeFigureOut">
              <a:rPr lang="de-DE" smtClean="0"/>
              <a:t>13.04.20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E2FA28C-417E-3306-0A8A-3D7346FC32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43F8AB-E27C-6DEA-3285-41F0424DD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C1F95A-086F-4A94-9726-CE12BB173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5342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5D6A5FC-6AB6-47AD-EFCB-0FBEAA31D5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70180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25" imgH="424" progId="TCLayout.ActiveDocument.1">
                  <p:embed/>
                </p:oleObj>
              </mc:Choice>
              <mc:Fallback>
                <p:oleObj name="think-cell Folie" r:id="rId1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8471717-F5CB-564B-2A52-8478CCB4E1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EF9634A-1564-ED41-6F6D-B0EB335252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182DB5F-9F59-10B7-1FCD-68A7AB1C071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BCA66B-AB41-454E-99A7-9D869D0BF8CA}" type="datetimeFigureOut">
              <a:rPr lang="de-DE" smtClean="0"/>
              <a:t>13.04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3F7C1C-A39F-BB7A-3002-ED25C25033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D8FC65C-3F23-DB53-C73D-178A320DE7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C1F95A-086F-4A94-9726-CE12BB173C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4187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1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2DAF4ED-016D-9C3B-3CBC-F3174DCC7D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791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fik 20">
            <a:extLst>
              <a:ext uri="{FF2B5EF4-FFF2-40B4-BE49-F238E27FC236}">
                <a16:creationId xmlns:a16="http://schemas.microsoft.com/office/drawing/2014/main" id="{0E0529B6-A2BD-B04A-D7F4-C98DB9E607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7002DDB-0D08-899D-97CB-684BAC7F9F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870689"/>
            <a:ext cx="10668000" cy="1014413"/>
          </a:xfrm>
        </p:spPr>
        <p:txBody>
          <a:bodyPr vert="horz">
            <a:noAutofit/>
          </a:bodyPr>
          <a:lstStyle/>
          <a:p>
            <a:br>
              <a:rPr lang="de-DE" sz="11500" b="1" dirty="0"/>
            </a:br>
            <a:r>
              <a:rPr lang="de-DE" sz="11500" b="1" dirty="0"/>
              <a:t>Würzburg Ausflug 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E158224-C1B8-4D98-4CAF-98A71E6E48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1501302" y="1685689"/>
            <a:ext cx="9144000" cy="1655762"/>
          </a:xfrm>
        </p:spPr>
        <p:txBody>
          <a:bodyPr>
            <a:normAutofit/>
          </a:bodyPr>
          <a:lstStyle/>
          <a:p>
            <a:r>
              <a:rPr lang="de-DE" sz="4000" dirty="0"/>
              <a:t>03.10 bis 06.10.24</a:t>
            </a:r>
          </a:p>
        </p:txBody>
      </p:sp>
    </p:spTree>
    <p:extLst>
      <p:ext uri="{BB962C8B-B14F-4D97-AF65-F5344CB8AC3E}">
        <p14:creationId xmlns:p14="http://schemas.microsoft.com/office/powerpoint/2010/main" val="13196368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CE26FCA-F926-71BF-4CAD-A85028CDF4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8230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18EF385-ACD6-9AAA-47CA-3514BFC56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u="sng" dirty="0"/>
              <a:t>Donnerstag 03.10.2024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B3806CA-4993-6334-44ED-155AAF5DA4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breise um 8 Uhr ab Lehenweiler mit Bus Fa. Hassler</a:t>
            </a:r>
          </a:p>
          <a:p>
            <a:r>
              <a:rPr lang="de-DE" dirty="0"/>
              <a:t>Frühstücks-Stopp mit Besichtigung Dinkelsbühl (Fachwerkstadt)</a:t>
            </a:r>
          </a:p>
          <a:p>
            <a:r>
              <a:rPr lang="de-DE" dirty="0"/>
              <a:t>Nachmittag Ankunft im Hotel Weißes Lamm in Veitshöchheim</a:t>
            </a:r>
          </a:p>
          <a:p>
            <a:r>
              <a:rPr lang="de-DE" dirty="0"/>
              <a:t>Abendessen in Würzburg „Alter Kranen“</a:t>
            </a:r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</p:txBody>
      </p:sp>
      <p:pic>
        <p:nvPicPr>
          <p:cNvPr id="17" name="Grafik 16" descr="Ein Bild, das Transport, draußen, Fahrzeug, Landfahrzeug enthält.&#10;&#10;Automatisch generierte Beschreibung">
            <a:extLst>
              <a:ext uri="{FF2B5EF4-FFF2-40B4-BE49-F238E27FC236}">
                <a16:creationId xmlns:a16="http://schemas.microsoft.com/office/drawing/2014/main" id="{6FC4CA18-4C3D-6B17-F8D6-E7375AB235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23603" y="950628"/>
            <a:ext cx="2430197" cy="1325562"/>
          </a:xfrm>
          <a:prstGeom prst="rect">
            <a:avLst/>
          </a:prstGeom>
        </p:spPr>
      </p:pic>
      <p:pic>
        <p:nvPicPr>
          <p:cNvPr id="19" name="Grafik 18" descr="Ein Bild, das draußen, Gebäude, Nachbarschaft, Himmel enthält.&#10;&#10;Automatisch generierte Beschreibung">
            <a:extLst>
              <a:ext uri="{FF2B5EF4-FFF2-40B4-BE49-F238E27FC236}">
                <a16:creationId xmlns:a16="http://schemas.microsoft.com/office/drawing/2014/main" id="{40D24857-7327-D6F6-5404-8BE6631E651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6890" y="3801824"/>
            <a:ext cx="5756910" cy="2695575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0FCCBEE5-E6A7-8827-494A-8180CA88FC8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775" y="3801824"/>
            <a:ext cx="4129726" cy="2691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9552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355370C-AB8E-4C6E-669C-F0E80543C7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9270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0BDEAD6-FB58-1F35-7771-A751FF156B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u="sng" dirty="0"/>
              <a:t>Freitag 04.10.2024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E2529B7-7CD8-F12E-2DC3-39C4E86F05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Rokokogarten in Veitshöchheim</a:t>
            </a:r>
          </a:p>
          <a:p>
            <a:r>
              <a:rPr lang="de-DE" dirty="0"/>
              <a:t>Anlegestelle für Schifffahrt nach Würzburg (45min.)</a:t>
            </a:r>
          </a:p>
          <a:p>
            <a:r>
              <a:rPr lang="de-DE" dirty="0"/>
              <a:t>Besuch von Sehenswürdigkeiten Würzburg</a:t>
            </a:r>
          </a:p>
          <a:p>
            <a:r>
              <a:rPr lang="de-DE" dirty="0"/>
              <a:t>Weinprobe Juliusspital ab 17:00 Uhr</a:t>
            </a:r>
          </a:p>
          <a:p>
            <a:r>
              <a:rPr lang="de-DE" dirty="0"/>
              <a:t>Abendessen in Würzburg „Alte Mainmühle“</a:t>
            </a:r>
          </a:p>
          <a:p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418FE6B-9EC2-27B1-EE4E-7D86A6D314F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24929" y="1910452"/>
            <a:ext cx="3187045" cy="215896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C5CE085D-8D98-269A-7C75-E82D4B4C475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9688" y="4444258"/>
            <a:ext cx="4122286" cy="2262608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255A11FC-D803-42CF-37A6-279799A72B4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5775" y="4444258"/>
            <a:ext cx="3648075" cy="225686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F33BFF5-0129-B643-A47E-BF0D9AD8E50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4444259"/>
            <a:ext cx="3727575" cy="2262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4420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E9E65FE-8103-E07A-FAE9-27F3DC11C8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9331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37A0D70-04DE-0ABE-F269-97F2AFE7FF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u="sng" dirty="0"/>
              <a:t>Samstag 05.10.2024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F98723-40DE-9455-7C95-8247C6057C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Festung Marienburg</a:t>
            </a:r>
          </a:p>
          <a:p>
            <a:r>
              <a:rPr lang="de-DE" dirty="0"/>
              <a:t>Shopping in Würzburg</a:t>
            </a:r>
          </a:p>
          <a:p>
            <a:r>
              <a:rPr lang="de-DE" dirty="0"/>
              <a:t>Abendessen im Hotel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34C1F6C-C194-9D01-BA60-E1638362236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8137" y="3357184"/>
            <a:ext cx="4811209" cy="3393437"/>
          </a:xfrm>
          <a:prstGeom prst="rect">
            <a:avLst/>
          </a:prstGeom>
        </p:spPr>
      </p:pic>
      <p:pic>
        <p:nvPicPr>
          <p:cNvPr id="10" name="Grafik 9" descr="Ein Bild, das draußen, Himmel, Gebäude, Baum enthält.&#10;&#10;Automatisch generierte Beschreibung">
            <a:extLst>
              <a:ext uri="{FF2B5EF4-FFF2-40B4-BE49-F238E27FC236}">
                <a16:creationId xmlns:a16="http://schemas.microsoft.com/office/drawing/2014/main" id="{7846DAF2-FDEA-16A8-645A-46D604E68D6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66241" y="4279770"/>
            <a:ext cx="5469346" cy="2470852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F16AB37B-FFA5-28E4-A0D4-CEAB9A06A74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66242" y="1621410"/>
            <a:ext cx="5469345" cy="2397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4271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2E5231B-CBA6-5A5A-AA27-29383135EB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5557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4056C7E-1225-E411-FB5B-18DC8FCB18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u="sng" dirty="0"/>
              <a:t>Sonstiges</a:t>
            </a:r>
            <a:r>
              <a:rPr lang="de-DE" dirty="0"/>
              <a:t>: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69BB8D0-DD13-FF06-281D-9C114BBE0D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Orgelkonzert im Dom 12:00 – 12:30 Uhr</a:t>
            </a:r>
          </a:p>
          <a:p>
            <a:r>
              <a:rPr lang="de-DE" dirty="0"/>
              <a:t>Wochenmarkt Freitag und Samstag</a:t>
            </a:r>
          </a:p>
          <a:p>
            <a:r>
              <a:rPr lang="de-DE" dirty="0"/>
              <a:t>Kneipentour am Abend z.B. Sanderstraße</a:t>
            </a:r>
          </a:p>
          <a:p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DAE5375-0656-2135-EC33-FA5E90BE5A8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367" y="3429000"/>
            <a:ext cx="4867275" cy="317541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D61BB9A5-AC88-5D56-AD2E-8CF23A45DFB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4725" y="486035"/>
            <a:ext cx="4657725" cy="267917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1F6DC211-5CF6-15EE-CDAC-31689048F04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2513" y="3429000"/>
            <a:ext cx="5689937" cy="3175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8186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83C80F5-7202-EAF2-B19F-91C98C74AC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342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0E82D3E-09D3-6577-EAC1-2AD8CB9B16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u="sng" dirty="0"/>
              <a:t>Sonntag 06.10.2024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7B62698-9549-D5F0-7219-6A36F0A472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763711"/>
          </a:xfrm>
        </p:spPr>
        <p:txBody>
          <a:bodyPr>
            <a:normAutofit/>
          </a:bodyPr>
          <a:lstStyle/>
          <a:p>
            <a:r>
              <a:rPr lang="de-DE" dirty="0"/>
              <a:t>Rückfahrt nach Frühstück im Hotel</a:t>
            </a:r>
          </a:p>
          <a:p>
            <a:r>
              <a:rPr lang="de-DE" dirty="0"/>
              <a:t>Zwischenstopp in Rothenburg ob der Tauber </a:t>
            </a:r>
            <a:r>
              <a:rPr lang="de-DE" dirty="0" err="1"/>
              <a:t>Plönlein</a:t>
            </a:r>
            <a:r>
              <a:rPr lang="de-DE" dirty="0"/>
              <a:t> mit Kriminalmuseum oder Weihnachtsmuseum</a:t>
            </a:r>
          </a:p>
          <a:p>
            <a:r>
              <a:rPr lang="de-DE" dirty="0"/>
              <a:t>Ankunft Lehenweiler 18Uhr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sz="3600" b="1" dirty="0"/>
              <a:t>	    Kosten</a:t>
            </a:r>
          </a:p>
          <a:p>
            <a:pPr marL="0" indent="0">
              <a:buNone/>
            </a:pPr>
            <a:r>
              <a:rPr lang="de-DE" sz="3600" b="1" dirty="0"/>
              <a:t>475,- EURO </a:t>
            </a:r>
            <a:r>
              <a:rPr lang="de-DE" sz="3600" b="1" dirty="0" err="1"/>
              <a:t>p.P</a:t>
            </a:r>
            <a:r>
              <a:rPr lang="de-DE" sz="3600" b="1" dirty="0"/>
              <a:t>. im DZ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30B4025-B9E2-A117-6BD0-52A119A204E8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192" y="3223972"/>
            <a:ext cx="5244985" cy="3500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2487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4</Words>
  <Application>Microsoft Office PowerPoint</Application>
  <PresentationFormat>Breitbild</PresentationFormat>
  <Paragraphs>29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Office</vt:lpstr>
      <vt:lpstr>think-cell Folie</vt:lpstr>
      <vt:lpstr> Würzburg Ausflug </vt:lpstr>
      <vt:lpstr>Donnerstag 03.10.2024</vt:lpstr>
      <vt:lpstr>Freitag 04.10.2024</vt:lpstr>
      <vt:lpstr>Samstag 05.10.2024</vt:lpstr>
      <vt:lpstr>Sonstiges:</vt:lpstr>
      <vt:lpstr>Sonntag 06.10.2024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ürzburg Ausflug</dc:title>
  <dc:creator>Roell, Roland (059)</dc:creator>
  <cp:lastModifiedBy>Johannes Frey</cp:lastModifiedBy>
  <cp:revision>16</cp:revision>
  <dcterms:created xsi:type="dcterms:W3CDTF">2024-03-16T13:27:00Z</dcterms:created>
  <dcterms:modified xsi:type="dcterms:W3CDTF">2024-04-13T18:3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24dbb1d-991d-4bbd-aad5-33bac1d8ffaf_Enabled">
    <vt:lpwstr>true</vt:lpwstr>
  </property>
  <property fmtid="{D5CDD505-2E9C-101B-9397-08002B2CF9AE}" pid="3" name="MSIP_Label_924dbb1d-991d-4bbd-aad5-33bac1d8ffaf_SetDate">
    <vt:lpwstr>2024-03-16T13:27:00Z</vt:lpwstr>
  </property>
  <property fmtid="{D5CDD505-2E9C-101B-9397-08002B2CF9AE}" pid="4" name="MSIP_Label_924dbb1d-991d-4bbd-aad5-33bac1d8ffaf_Method">
    <vt:lpwstr>Standard</vt:lpwstr>
  </property>
  <property fmtid="{D5CDD505-2E9C-101B-9397-08002B2CF9AE}" pid="5" name="MSIP_Label_924dbb1d-991d-4bbd-aad5-33bac1d8ffaf_Name">
    <vt:lpwstr>924dbb1d-991d-4bbd-aad5-33bac1d8ffaf</vt:lpwstr>
  </property>
  <property fmtid="{D5CDD505-2E9C-101B-9397-08002B2CF9AE}" pid="6" name="MSIP_Label_924dbb1d-991d-4bbd-aad5-33bac1d8ffaf_SiteId">
    <vt:lpwstr>9652d7c2-1ccf-4940-8151-4a92bd474ed0</vt:lpwstr>
  </property>
  <property fmtid="{D5CDD505-2E9C-101B-9397-08002B2CF9AE}" pid="7" name="MSIP_Label_924dbb1d-991d-4bbd-aad5-33bac1d8ffaf_ActionId">
    <vt:lpwstr>9ac9fc1a-7a20-47d0-8590-a1aacd21dd72</vt:lpwstr>
  </property>
  <property fmtid="{D5CDD505-2E9C-101B-9397-08002B2CF9AE}" pid="8" name="MSIP_Label_924dbb1d-991d-4bbd-aad5-33bac1d8ffaf_ContentBits">
    <vt:lpwstr>0</vt:lpwstr>
  </property>
</Properties>
</file>